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3"/>
  </p:normalViewPr>
  <p:slideViewPr>
    <p:cSldViewPr>
      <p:cViewPr varScale="1">
        <p:scale>
          <a:sx n="62" d="100"/>
          <a:sy n="62" d="100"/>
        </p:scale>
        <p:origin x="200" y="13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3.877703206562267E-2"/>
          <c:w val="0.94537815126050417"/>
          <c:h val="0.922445935868754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F1C-7B49-A700-B336FFF68C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</c:v>
                </c:pt>
                <c:pt idx="1">
                  <c:v>8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1C-7B49-A700-B336FFF68C6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F1C-7B49-A700-B336FFF68C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1C-7B49-A700-B336FFF68C6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F1C-7B49-A700-B336FFF68C6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F1C-7B49-A700-B336FFF68C6E}"/>
                </c:ext>
              </c:extLst>
            </c:dLbl>
            <c:dLbl>
              <c:idx val="2"/>
              <c:layout>
                <c:manualLayout>
                  <c:x val="-4.3592436974789914E-2"/>
                  <c:y val="-7.457121551081282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F1C-7B49-A700-B336FFF68C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2</c:v>
                </c:pt>
                <c:pt idx="1">
                  <c:v>5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1C-7B49-A700-B336FFF68C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0590863"/>
        <c:axId val="1"/>
      </c:barChart>
      <c:catAx>
        <c:axId val="2120590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205908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1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2059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0" imgW="524" imgH="524" progId="TCLayout.ActiveDocument.1">
                  <p:embed/>
                </p:oleObj>
              </mc:Choice>
              <mc:Fallback>
                <p:oleObj name="think-cell Slide" r:id="rId20" imgW="524" imgH="524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cs typeface="+mj-cs"/>
              <a:sym typeface="+mn-lt"/>
            </a:endParaRPr>
          </a:p>
        </p:txBody>
      </p:sp>
      <p:graphicFrame>
        <p:nvGraphicFramePr>
          <p:cNvPr id="167" name="Chart 166">
            <a:extLst>
              <a:ext uri="{FF2B5EF4-FFF2-40B4-BE49-F238E27FC236}">
                <a16:creationId xmlns:a16="http://schemas.microsoft.com/office/drawing/2014/main" id="{8E03E0C1-4CAC-B84A-A950-9B682821652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08037419"/>
              </p:ext>
            </p:extLst>
          </p:nvPr>
        </p:nvGraphicFramePr>
        <p:xfrm>
          <a:off x="2922588" y="2230438"/>
          <a:ext cx="3022600" cy="2128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F847AF9A-D68B-F149-A2E6-0C373B30273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098800" y="4094163"/>
            <a:ext cx="85725" cy="139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4FFD00EA-9F5A-604F-BD90-1BDF70D3727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184775" y="4127500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770EFC-BC0E-49F9-A893-572C91C0071C}" type="datetime'''''''''''''''''''''''''''''''''''''''1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400" dirty="0"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3FBB0019-7948-CB45-9045-289E3F1B1AD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449888" y="4084638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F30761-90CA-4919-8651-DBF42DBDA679}" type="datetime'''''''''''''''''''''''''''0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4FCA51E-1218-7248-B908-7BC06D647A3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06700" y="3987800"/>
            <a:ext cx="266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A9B24B2-323D-4F00-83B3-71378BAD71FC}" type="datetime'''''''A''''''''''''''''''''''d''s'''''''''''''''''''''''''''''">
              <a:rPr lang="en-US" altLang="en-US" sz="1400" smtClean="0"/>
              <a:pPr/>
              <a:t>Ads</a:t>
            </a:fld>
            <a:endParaRPr lang="en-US" sz="1400" dirty="0"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D497223-89BE-45B8-9E5B-18C8ED32200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316538" y="3611563"/>
            <a:ext cx="141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0058AE7-36B1-4BC4-825C-8119A7378F18}" type="datetime'''''''''''''''''''''''''''''''''''''''''''5'''''''''''''''''">
              <a:rPr lang="en-US" altLang="en-US" sz="1400" smtClean="0"/>
              <a:pPr/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CD27D2E-D014-4B17-A5BB-9D039173CD6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495550" y="3657600"/>
            <a:ext cx="577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80203F6B-0182-4319-910F-E3E8A37EF766}" type="datetime'Ip''''''h''''''''o''''''''n''''e''''s'''''''''''''">
              <a:rPr lang="en-US" altLang="en-US" sz="1400" smtClean="0"/>
              <a:pPr/>
              <a:t>Iphones</a:t>
            </a:fld>
            <a:endParaRPr lang="en-US" sz="14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E12447F-9692-45B2-9151-901B836DE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65500" y="2074863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33459C49-702C-49C4-945A-B620F5652366}" type="datetime'2''''''''''''''''3'''''''''''''''''''''''">
              <a:rPr lang="en-US" altLang="en-US" sz="1400" smtClean="0"/>
              <a:pPr/>
              <a:t>23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2E91309-9B67-42A3-A79B-A79E4EC8E9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18000" y="292893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57E8BAB6-8243-44BC-A081-1B0E90E18542}" type="datetime'''''''''''''''''''''''''''''1''''''''3'">
              <a:rPr lang="en-US" altLang="en-US" sz="1400" smtClean="0"/>
              <a:pPr/>
              <a:t>13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DDAB3A6-DBC3-4329-86B2-F3706CFA4F9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65488" y="4398963"/>
            <a:ext cx="433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9FD366F-A43A-45F0-A7F2-AAE90D622056}" type="datetime'''''''''''''''''''''''A''p''''''''''''''''''''''''''''p''l''e'">
              <a:rPr lang="en-US" altLang="en-US" sz="1400" smtClean="0"/>
              <a:pPr/>
              <a:t>Apple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5096308-18F0-46CB-B30C-FD56CD67C4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30788" y="4398963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24DC82EE-6A71-403E-AE2B-3A93E7C77D90}" type="datetime'''''''''''M''''''''i''cr''o''s''o''''f''''''''''t'''">
              <a:rPr lang="en-US" altLang="en-US" sz="1400" smtClean="0"/>
              <a:pPr/>
              <a:t>Microsoft</a:t>
            </a:fld>
            <a:endParaRPr lang="en-US" sz="1400" dirty="0"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CFC8E580-8D97-6147-A254-AF226647346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364038" y="3487738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0A5774-7471-4DEF-AF26-20429B1A4B97}" type="datetime'''''''''''''0''''''''''''''''''''''''''''''''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B4A0D35-75FE-4FA0-AC6D-2775052F076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651126" y="2719388"/>
            <a:ext cx="422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CE89AF0-C6F3-43F3-9E6D-87E668C65D74}" type="datetime'''''''''''''''''''''''O''th''''''e''r'''''''''''''''''''''''''">
              <a:rPr lang="en-US" altLang="en-US" sz="1400" smtClean="0"/>
              <a:pPr/>
              <a:t>Other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CFBAD8-CB52-461E-ADDA-6AF2C2C2B7C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11538" y="4127500"/>
            <a:ext cx="141288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49514F62-B776-47D7-AF14-F65B6F34CFB6}" type="datetime'''''''''''''''''''''''''''''''''''''''''''''1'''''''''">
              <a:rPr lang="en-US" altLang="en-US" sz="1400" smtClean="0"/>
              <a:pPr/>
              <a:t>1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67DA5E4-4EB4-42E5-9781-8929DFCA12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170363" y="4398963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1DC99B20-18A4-4184-8CA4-5759B2C0C0A3}" type="datetime'''''''''''''''Go''''''''''''og''''''''le'''''''">
              <a:rPr lang="en-US" altLang="en-US" sz="1400" smtClean="0"/>
              <a:pPr/>
              <a:t>Google</a:t>
            </a:fld>
            <a:endParaRPr lang="en-US" sz="1400" dirty="0">
              <a:sym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w_9LNRIygy2HJ_Dui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C4bUOwQvyXbVSPrn1o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43Rr2T42DS4aA0JC8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FN3lK_Tz6xJnf4cqGY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DiZcrCRHaSvdJoj3Cu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zA6VgRmrC8fnOL_K7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xLHVyRRuSW4v7K9XP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h5WsLuRmiBTkhIjcSJ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kh6bFQ1KYJSK0xLbT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MKrGXzFUJkdesTvtW5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0DKxO2wWhpwCCNUqQ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awfeDnnBRfcNKjQOK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rv7wGtJrGzjaEoj5F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BMdXPcMXEEsUdPmO9g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BrVzwQQjOuIokwtshHT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8</Words>
  <Application>Microsoft Macintosh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rno Schödl</dc:creator>
  <cp:lastModifiedBy>Microsoft Office User</cp:lastModifiedBy>
  <cp:revision>11</cp:revision>
  <dcterms:created xsi:type="dcterms:W3CDTF">2017-07-28T16:17:58Z</dcterms:created>
  <dcterms:modified xsi:type="dcterms:W3CDTF">2019-06-16T16:19:06Z</dcterms:modified>
</cp:coreProperties>
</file>